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91" r:id="rId1"/>
  </p:sldMasterIdLst>
  <p:notesMasterIdLst>
    <p:notesMasterId r:id="rId11"/>
  </p:notesMasterIdLst>
  <p:handoutMasterIdLst>
    <p:handoutMasterId r:id="rId12"/>
  </p:handoutMasterIdLst>
  <p:sldIdLst>
    <p:sldId id="2146847048" r:id="rId2"/>
    <p:sldId id="2146847063" r:id="rId3"/>
    <p:sldId id="2146847061" r:id="rId4"/>
    <p:sldId id="2146846799" r:id="rId5"/>
    <p:sldId id="2146847059" r:id="rId6"/>
    <p:sldId id="2146847078" r:id="rId7"/>
    <p:sldId id="2146847090" r:id="rId8"/>
    <p:sldId id="2146847054" r:id="rId9"/>
    <p:sldId id="2146846791" r:id="rId10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IBM Plex Sans" panose="020B0503050203000203" pitchFamily="34" charset="0"/>
      <p:regular r:id="rId17"/>
      <p:bold r:id="rId18"/>
      <p:italic r:id="rId19"/>
      <p:boldItalic r:id="rId20"/>
    </p:embeddedFont>
    <p:embeddedFont>
      <p:font typeface="IBM Plex Sans Light" panose="020B0403050203000203" pitchFamily="34" charset="0"/>
      <p:regular r:id="rId21"/>
      <p:italic r:id="rId22"/>
    </p:embeddedFont>
  </p:embeddedFontLst>
  <p:defaultTextStyle>
    <a:defPPr>
      <a:defRPr lang="en-US"/>
    </a:defPPr>
    <a:lvl1pPr marL="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808"/>
    <p:restoredTop sz="96237"/>
  </p:normalViewPr>
  <p:slideViewPr>
    <p:cSldViewPr snapToGrid="0" snapToObjects="1">
      <p:cViewPr varScale="1">
        <p:scale>
          <a:sx n="211" d="100"/>
          <a:sy n="211" d="100"/>
        </p:scale>
        <p:origin x="768" y="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31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66" d="100"/>
          <a:sy n="166" d="100"/>
        </p:scale>
        <p:origin x="6048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736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174625" indent="-169863" algn="l" defTabSz="914400" rtl="0" eaLnBrk="1" latinLnBrk="0" hangingPunct="1">
      <a:spcBef>
        <a:spcPts val="600"/>
      </a:spcBef>
      <a:buFont typeface="IBM Plex Sans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347472" indent="-173736" algn="l" defTabSz="914400" rtl="0" eaLnBrk="1" latinLnBrk="0" hangingPunct="1">
      <a:spcBef>
        <a:spcPts val="600"/>
      </a:spcBef>
      <a:buFont typeface="IBM Plex Sans Light" panose="020B0604020202020204" pitchFamily="34" charset="0"/>
      <a:buChar char="•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630936" indent="-173736" algn="l" defTabSz="914400" rtl="0" eaLnBrk="1" latinLnBrk="0" hangingPunct="1">
      <a:spcBef>
        <a:spcPts val="600"/>
      </a:spcBef>
      <a:buFont typeface="IBM Plex Sans Light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174625" marR="0" indent="-169863" algn="l" defTabSz="914400" rtl="0" eaLnBrk="1" fontAlgn="base" latinLnBrk="0" hangingPunct="1">
      <a:lnSpc>
        <a:spcPct val="100000"/>
      </a:lnSpc>
      <a:spcBef>
        <a:spcPts val="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593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16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4204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9203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79114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504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74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90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605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154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76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42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30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752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7856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682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5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74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574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87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411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468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7231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4434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70163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8083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4572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600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5768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7739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569463"/>
          </a:xfrm>
          <a:noFill/>
        </p:spPr>
        <p:txBody>
          <a:bodyPr lIns="182880" tIns="164592" rIns="228600" bIns="22860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2286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3"/>
            <a:ext cx="2286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2286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4572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8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228600" y="2571750"/>
            <a:ext cx="86868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8155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425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273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879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2283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6855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4260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059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81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59626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11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11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11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11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27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62634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000">
                <a:solidFill>
                  <a:schemeClr val="tx1"/>
                </a:solidFill>
              </a:defRPr>
            </a:lvl3pPr>
            <a:lvl4pPr>
              <a:spcBef>
                <a:spcPts val="300"/>
              </a:spcBef>
              <a:defRPr sz="1000">
                <a:solidFill>
                  <a:schemeClr val="tx1"/>
                </a:solidFill>
              </a:defRPr>
            </a:lvl4pPr>
            <a:lvl5pPr>
              <a:spcBef>
                <a:spcPts val="3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467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7208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9024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917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600">
                <a:solidFill>
                  <a:schemeClr val="tx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821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89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1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8" y="2312885"/>
            <a:ext cx="1297604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014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93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272261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08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847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87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87" y="3810"/>
            <a:ext cx="9128406" cy="513969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407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1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25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8006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8006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2" r:id="rId1"/>
    <p:sldLayoutId id="2147483926" r:id="rId2"/>
    <p:sldLayoutId id="2147483935" r:id="rId3"/>
    <p:sldLayoutId id="2147483936" r:id="rId4"/>
    <p:sldLayoutId id="2147483937" r:id="rId5"/>
    <p:sldLayoutId id="2147483925" r:id="rId6"/>
    <p:sldLayoutId id="2147483924" r:id="rId7"/>
    <p:sldLayoutId id="2147483938" r:id="rId8"/>
    <p:sldLayoutId id="2147483939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  <p:sldLayoutId id="2147483909" r:id="rId26"/>
    <p:sldLayoutId id="2147483910" r:id="rId27"/>
    <p:sldLayoutId id="2147483911" r:id="rId28"/>
    <p:sldLayoutId id="2147483912" r:id="rId29"/>
    <p:sldLayoutId id="2147483913" r:id="rId30"/>
    <p:sldLayoutId id="2147483914" r:id="rId31"/>
    <p:sldLayoutId id="2147483915" r:id="rId32"/>
    <p:sldLayoutId id="2147483916" r:id="rId33"/>
    <p:sldLayoutId id="2147483917" r:id="rId34"/>
    <p:sldLayoutId id="2147483918" r:id="rId35"/>
    <p:sldLayoutId id="2147483919" r:id="rId36"/>
    <p:sldLayoutId id="2147483920" r:id="rId37"/>
    <p:sldLayoutId id="2147483921" r:id="rId38"/>
    <p:sldLayoutId id="2147483922" r:id="rId39"/>
    <p:sldLayoutId id="2147483933" r:id="rId40"/>
    <p:sldLayoutId id="2147483934" r:id="rId41"/>
    <p:sldLayoutId id="2147483923" r:id="rId42"/>
    <p:sldLayoutId id="2147483940" r:id="rId4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5616" userDrawn="1">
          <p15:clr>
            <a:srgbClr val="F26B43"/>
          </p15:clr>
        </p15:guide>
        <p15:guide id="4" orient="horz" pos="2832" userDrawn="1">
          <p15:clr>
            <a:srgbClr val="F26B43"/>
          </p15:clr>
        </p15:guide>
        <p15:guide id="5" orient="horz" pos="3094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2736" userDrawn="1">
          <p15:clr>
            <a:srgbClr val="F26B43"/>
          </p15:clr>
        </p15:guide>
        <p15:guide id="8" pos="1440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pos="1296" userDrawn="1">
          <p15:clr>
            <a:srgbClr val="F26B43"/>
          </p15:clr>
        </p15:guide>
        <p15:guide id="11" pos="1584" userDrawn="1">
          <p15:clr>
            <a:srgbClr val="F26B43"/>
          </p15:clr>
        </p15:guide>
        <p15:guide id="12" pos="4320" userDrawn="1">
          <p15:clr>
            <a:srgbClr val="F26B43"/>
          </p15:clr>
        </p15:guide>
        <p15:guide id="13" pos="4176" userDrawn="1">
          <p15:clr>
            <a:srgbClr val="F26B43"/>
          </p15:clr>
        </p15:guide>
        <p15:guide id="14" pos="4464" userDrawn="1">
          <p15:clr>
            <a:srgbClr val="F26B43"/>
          </p15:clr>
        </p15:guide>
        <p15:guide id="15" orient="horz" pos="412" userDrawn="1">
          <p15:clr>
            <a:srgbClr val="F26B43"/>
          </p15:clr>
        </p15:guide>
        <p15:guide id="17" orient="horz" pos="812" userDrawn="1">
          <p15:clr>
            <a:srgbClr val="F26B43"/>
          </p15:clr>
        </p15:guide>
        <p15:guide id="18" orient="horz" pos="1620" userDrawn="1">
          <p15:clr>
            <a:srgbClr val="F26B43"/>
          </p15:clr>
        </p15:guide>
        <p15:guide id="19" orient="horz" pos="1216" userDrawn="1">
          <p15:clr>
            <a:srgbClr val="F26B43"/>
          </p15:clr>
        </p15:guide>
        <p15:guide id="20" orient="horz" pos="2022" userDrawn="1">
          <p15:clr>
            <a:srgbClr val="F26B43"/>
          </p15:clr>
        </p15:guide>
        <p15:guide id="21" orient="horz" pos="24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17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1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14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13.jpg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slideLayout" Target="../slideLayouts/slideLayout25.xml"/><Relationship Id="rId5" Type="http://schemas.openxmlformats.org/officeDocument/2006/relationships/tags" Target="../tags/tag20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14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image" Target="../media/image14.jpg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image" Target="../media/image13.jp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slideLayout" Target="../slideLayouts/slideLayout25.xml"/><Relationship Id="rId5" Type="http://schemas.openxmlformats.org/officeDocument/2006/relationships/tags" Target="../tags/tag30.xml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4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mediacenter.ibm.com/media/Under%20the%20Hood%3A%20%20AI-powered%20Application%20Resource%20Management/1_xyhddf4i" TargetMode="External"/><Relationship Id="rId5" Type="http://schemas.openxmlformats.org/officeDocument/2006/relationships/hyperlink" Target="https://mediacenter.ibm.com/media/%20Assure%20Performance%20with%20Intelligent%20Application%20Resource%20Management/1_x2uhcsco" TargetMode="External"/><Relationship Id="rId4" Type="http://schemas.openxmlformats.org/officeDocument/2006/relationships/hyperlink" Target="https://mediacenter.ibm.com/media/Assure%20Application%20Performance%20in%20Real%20Time/1_nbltunz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0" y="11962"/>
            <a:ext cx="9144000" cy="5162805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2957EB19-7404-0245-BE19-789038684254}"/>
              </a:ext>
            </a:extLst>
          </p:cNvPr>
          <p:cNvSpPr txBox="1">
            <a:spLocks/>
          </p:cNvSpPr>
          <p:nvPr/>
        </p:nvSpPr>
        <p:spPr>
          <a:xfrm>
            <a:off x="266700" y="253999"/>
            <a:ext cx="4039293" cy="11811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tomation </a:t>
            </a:r>
            <a:r>
              <a:rPr kumimoji="0" lang="en-US" sz="140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tinum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mo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resource 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  <a:b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1AD0B242-3213-8547-8C3F-3FF3BED0EB2C}"/>
              </a:ext>
            </a:extLst>
          </p:cNvPr>
          <p:cNvSpPr txBox="1">
            <a:spLocks/>
          </p:cNvSpPr>
          <p:nvPr/>
        </p:nvSpPr>
        <p:spPr>
          <a:xfrm>
            <a:off x="0" y="2272793"/>
            <a:ext cx="9144000" cy="1435608"/>
          </a:xfrm>
          <a:prstGeom prst="rect">
            <a:avLst/>
          </a:prstGeom>
        </p:spPr>
        <p:txBody>
          <a:bodyPr lIns="0" r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roduction </a:t>
            </a:r>
            <a:r>
              <a:rPr lang="en-US" sz="4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verview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453253C-8EA9-B247-8830-64D0A0EDB5C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082" r="21250"/>
          <a:stretch/>
        </p:blipFill>
        <p:spPr>
          <a:xfrm>
            <a:off x="8375650" y="4495800"/>
            <a:ext cx="550847" cy="63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49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0C2ADF-0A9C-374C-90E9-2A5628F1D410}"/>
              </a:ext>
            </a:extLst>
          </p:cNvPr>
          <p:cNvSpPr txBox="1"/>
          <p:nvPr/>
        </p:nvSpPr>
        <p:spPr>
          <a:xfrm>
            <a:off x="4343401" y="112971"/>
            <a:ext cx="4709807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REMOVE THIS SLIDE BEFORE PRESENTING TO CUSTOMERS</a:t>
            </a:r>
          </a:p>
        </p:txBody>
      </p:sp>
      <p:graphicFrame>
        <p:nvGraphicFramePr>
          <p:cNvPr id="28" name="Table 8">
            <a:extLst>
              <a:ext uri="{FF2B5EF4-FFF2-40B4-BE49-F238E27FC236}">
                <a16:creationId xmlns:a16="http://schemas.microsoft.com/office/drawing/2014/main" id="{AE61BBA5-BDF6-E7BB-7918-A6B27D97F0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946965"/>
              </p:ext>
            </p:extLst>
          </p:nvPr>
        </p:nvGraphicFramePr>
        <p:xfrm>
          <a:off x="228665" y="692448"/>
          <a:ext cx="8762935" cy="27076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428988">
                  <a:extLst>
                    <a:ext uri="{9D8B030D-6E8A-4147-A177-3AD203B41FA5}">
                      <a16:colId xmlns:a16="http://schemas.microsoft.com/office/drawing/2014/main" val="843429630"/>
                    </a:ext>
                  </a:extLst>
                </a:gridCol>
                <a:gridCol w="6333947">
                  <a:extLst>
                    <a:ext uri="{9D8B030D-6E8A-4147-A177-3AD203B41FA5}">
                      <a16:colId xmlns:a16="http://schemas.microsoft.com/office/drawing/2014/main" val="5040058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pose of this deck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deck is to be shown to customers to introduce and summarize the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lication resource management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mo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159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enario overview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demo illustrates how Turbonomic and Instana work together to proactively assure application performance while maintaining efficient use of resources in hybrid cloud environments.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469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(s) in the dem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urbonomic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application resource management); Instana (observability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4972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abilities to be demonstrated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ull stack visibility; Resource optimization; Automatable action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216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ed product version(s)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urbonomic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8.2; 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stana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.213 (SaaS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513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BM Technology Zone page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" action="ppaction://noaction"/>
                        </a:rPr>
                        <a:t>https://techzone.ibm.com/collection/platinum-demos-application-resource-management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29048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components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22663667"/>
                  </a:ext>
                </a:extLst>
              </a:tr>
            </a:tbl>
          </a:graphicData>
        </a:graphic>
      </p:graphicFrame>
      <p:sp>
        <p:nvSpPr>
          <p:cNvPr id="25" name="Rectangle 4">
            <a:extLst>
              <a:ext uri="{FF2B5EF4-FFF2-40B4-BE49-F238E27FC236}">
                <a16:creationId xmlns:a16="http://schemas.microsoft.com/office/drawing/2014/main" id="{365622AC-4DE6-7CC9-521E-4E27F260D6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17607" y="3302050"/>
            <a:ext cx="2921650" cy="1345219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33" name="Rectangle 4">
            <a:extLst>
              <a:ext uri="{FF2B5EF4-FFF2-40B4-BE49-F238E27FC236}">
                <a16:creationId xmlns:a16="http://schemas.microsoft.com/office/drawing/2014/main" id="{6EDB1330-5638-0F4A-8859-15193EFA1A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254918" y="3302051"/>
            <a:ext cx="2921650" cy="1335418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F5A44C7-0980-5745-9A4F-A5D9C3828766}"/>
              </a:ext>
            </a:extLst>
          </p:cNvPr>
          <p:cNvSpPr txBox="1"/>
          <p:nvPr/>
        </p:nvSpPr>
        <p:spPr>
          <a:xfrm>
            <a:off x="5254918" y="4422024"/>
            <a:ext cx="292165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 err="1">
                <a:latin typeface="Arial" panose="020B0604020202020204" pitchFamily="34" charset="0"/>
                <a:cs typeface="Arial" panose="020B0604020202020204" pitchFamily="34" charset="0"/>
              </a:rPr>
              <a:t>Instana</a:t>
            </a:r>
            <a:endParaRPr lang="en-US" sz="8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4AB1921-20D3-6233-A2EC-6D64CE60D68B}"/>
              </a:ext>
            </a:extLst>
          </p:cNvPr>
          <p:cNvGrpSpPr/>
          <p:nvPr/>
        </p:nvGrpSpPr>
        <p:grpSpPr>
          <a:xfrm>
            <a:off x="5367792" y="3411195"/>
            <a:ext cx="2695903" cy="998717"/>
            <a:chOff x="2005647" y="3731377"/>
            <a:chExt cx="2695903" cy="998717"/>
          </a:xfrm>
        </p:grpSpPr>
        <p:sp>
          <p:nvSpPr>
            <p:cNvPr id="50" name="Rectangle 3">
              <a:extLst>
                <a:ext uri="{FF2B5EF4-FFF2-40B4-BE49-F238E27FC236}">
                  <a16:creationId xmlns:a16="http://schemas.microsoft.com/office/drawing/2014/main" id="{3C99431D-9F30-4E4B-BEFF-0E45CC8F102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05647" y="3731377"/>
              <a:ext cx="2695903" cy="9987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anchor="t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servability 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E7496E47-4B44-EBC5-E94A-D6F2C86F6941}"/>
                </a:ext>
              </a:extLst>
            </p:cNvPr>
            <p:cNvGrpSpPr/>
            <p:nvPr/>
          </p:nvGrpSpPr>
          <p:grpSpPr>
            <a:xfrm>
              <a:off x="2110002" y="4172530"/>
              <a:ext cx="2487192" cy="378665"/>
              <a:chOff x="1884995" y="4150479"/>
              <a:chExt cx="2487192" cy="378665"/>
            </a:xfrm>
          </p:grpSpPr>
          <p:sp>
            <p:nvSpPr>
              <p:cNvPr id="52" name="Rectangle 3">
                <a:extLst>
                  <a:ext uri="{FF2B5EF4-FFF2-40B4-BE49-F238E27FC236}">
                    <a16:creationId xmlns:a16="http://schemas.microsoft.com/office/drawing/2014/main" id="{AEAD252B-CD94-2E4E-B59D-A98F8CF7605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588458" y="4150479"/>
                <a:ext cx="783729" cy="37490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pendency </a:t>
                </a:r>
                <a:b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apping</a:t>
                </a:r>
              </a:p>
            </p:txBody>
          </p:sp>
          <p:sp>
            <p:nvSpPr>
              <p:cNvPr id="53" name="Rectangle 3">
                <a:extLst>
                  <a:ext uri="{FF2B5EF4-FFF2-40B4-BE49-F238E27FC236}">
                    <a16:creationId xmlns:a16="http://schemas.microsoft.com/office/drawing/2014/main" id="{138A7A42-5454-A949-9530-F7AE462B25A2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884995" y="4154244"/>
                <a:ext cx="786866" cy="3749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istributed</a:t>
                </a:r>
                <a:b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racing</a:t>
                </a:r>
              </a:p>
            </p:txBody>
          </p:sp>
          <p:sp>
            <p:nvSpPr>
              <p:cNvPr id="54" name="Rectangle 3">
                <a:extLst>
                  <a:ext uri="{FF2B5EF4-FFF2-40B4-BE49-F238E27FC236}">
                    <a16:creationId xmlns:a16="http://schemas.microsoft.com/office/drawing/2014/main" id="{DB2F2F27-2A83-A244-840D-DC8516F3B962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736726" y="4154240"/>
                <a:ext cx="786866" cy="3749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etrics </a:t>
                </a:r>
                <a:b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ggregation</a:t>
                </a:r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17D6A768-E059-DD9E-4DD5-A95A907E5335}"/>
              </a:ext>
            </a:extLst>
          </p:cNvPr>
          <p:cNvGrpSpPr/>
          <p:nvPr/>
        </p:nvGrpSpPr>
        <p:grpSpPr>
          <a:xfrm>
            <a:off x="2330481" y="3411195"/>
            <a:ext cx="2695903" cy="998717"/>
            <a:chOff x="4879604" y="3729218"/>
            <a:chExt cx="2695903" cy="998717"/>
          </a:xfrm>
        </p:grpSpPr>
        <p:sp>
          <p:nvSpPr>
            <p:cNvPr id="29" name="Rectangle 3">
              <a:extLst>
                <a:ext uri="{FF2B5EF4-FFF2-40B4-BE49-F238E27FC236}">
                  <a16:creationId xmlns:a16="http://schemas.microsoft.com/office/drawing/2014/main" id="{D4275A3C-7D92-8F97-664A-29F03F8C7EF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879604" y="3729218"/>
              <a:ext cx="2695903" cy="9987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anchor="t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lication resource management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BC8A4551-A870-E09A-7F90-471E89950396}"/>
                </a:ext>
              </a:extLst>
            </p:cNvPr>
            <p:cNvGrpSpPr/>
            <p:nvPr/>
          </p:nvGrpSpPr>
          <p:grpSpPr>
            <a:xfrm>
              <a:off x="4983959" y="4170371"/>
              <a:ext cx="2487192" cy="378665"/>
              <a:chOff x="1884995" y="4150479"/>
              <a:chExt cx="2487192" cy="378665"/>
            </a:xfrm>
          </p:grpSpPr>
          <p:sp>
            <p:nvSpPr>
              <p:cNvPr id="31" name="Rectangle 3">
                <a:extLst>
                  <a:ext uri="{FF2B5EF4-FFF2-40B4-BE49-F238E27FC236}">
                    <a16:creationId xmlns:a16="http://schemas.microsoft.com/office/drawing/2014/main" id="{E82D6A7D-CF62-964D-F6C2-581D0D21860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588458" y="4150479"/>
                <a:ext cx="783729" cy="37490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utomatable actions</a:t>
                </a:r>
              </a:p>
            </p:txBody>
          </p:sp>
          <p:sp>
            <p:nvSpPr>
              <p:cNvPr id="32" name="Rectangle 3">
                <a:extLst>
                  <a:ext uri="{FF2B5EF4-FFF2-40B4-BE49-F238E27FC236}">
                    <a16:creationId xmlns:a16="http://schemas.microsoft.com/office/drawing/2014/main" id="{7F9A963B-6F5E-117E-3C9E-AE914D8DCDB1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884995" y="4154244"/>
                <a:ext cx="786866" cy="3749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ull stack visibility</a:t>
                </a:r>
              </a:p>
            </p:txBody>
          </p:sp>
          <p:sp>
            <p:nvSpPr>
              <p:cNvPr id="34" name="Rectangle 3">
                <a:extLst>
                  <a:ext uri="{FF2B5EF4-FFF2-40B4-BE49-F238E27FC236}">
                    <a16:creationId xmlns:a16="http://schemas.microsoft.com/office/drawing/2014/main" id="{4AE14577-E1A1-D31F-2054-377D4D7A8B7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736726" y="4154240"/>
                <a:ext cx="786866" cy="3749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8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esource optimization</a:t>
                </a:r>
              </a:p>
            </p:txBody>
          </p:sp>
        </p:grp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0B55EF50-809C-4ABF-9493-33924BA38D06}"/>
              </a:ext>
            </a:extLst>
          </p:cNvPr>
          <p:cNvSpPr txBox="1"/>
          <p:nvPr/>
        </p:nvSpPr>
        <p:spPr>
          <a:xfrm>
            <a:off x="2217607" y="4422024"/>
            <a:ext cx="292165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 err="1">
                <a:latin typeface="Arial" panose="020B0604020202020204" pitchFamily="34" charset="0"/>
                <a:cs typeface="Arial" panose="020B0604020202020204" pitchFamily="34" charset="0"/>
              </a:rPr>
              <a:t>Turbonomic</a:t>
            </a:r>
            <a:endParaRPr lang="en-US" sz="8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988DB7B-9377-DBCA-A922-53BCA2E91163}"/>
              </a:ext>
            </a:extLst>
          </p:cNvPr>
          <p:cNvSpPr txBox="1"/>
          <p:nvPr/>
        </p:nvSpPr>
        <p:spPr>
          <a:xfrm>
            <a:off x="5254918" y="3092129"/>
            <a:ext cx="292165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Saa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63593DD-5F76-294E-8142-F2192A183DBC}"/>
              </a:ext>
            </a:extLst>
          </p:cNvPr>
          <p:cNvSpPr txBox="1"/>
          <p:nvPr/>
        </p:nvSpPr>
        <p:spPr>
          <a:xfrm>
            <a:off x="2217607" y="3092129"/>
            <a:ext cx="292165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IBM TechZone-provided environment</a:t>
            </a:r>
          </a:p>
        </p:txBody>
      </p:sp>
    </p:spTree>
    <p:extLst>
      <p:ext uri="{BB962C8B-B14F-4D97-AF65-F5344CB8AC3E}">
        <p14:creationId xmlns:p14="http://schemas.microsoft.com/office/powerpoint/2010/main" val="39167295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blur&#10;&#10;Description automatically generated">
            <a:extLst>
              <a:ext uri="{FF2B5EF4-FFF2-40B4-BE49-F238E27FC236}">
                <a16:creationId xmlns:a16="http://schemas.microsoft.com/office/drawing/2014/main" id="{173CBF68-1E9B-BECC-48E2-DE5FB98138C4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32" name="Picture 31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13578D35-874F-5938-A1C6-335EF86BB67C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29" name="Rectangle 4">
            <a:extLst>
              <a:ext uri="{FF2B5EF4-FFF2-40B4-BE49-F238E27FC236}">
                <a16:creationId xmlns:a16="http://schemas.microsoft.com/office/drawing/2014/main" id="{0DC36E1D-49AF-1941-9B71-E808D818AA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02619" y="4173469"/>
            <a:ext cx="5739304" cy="48325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990032F-438D-7B4D-92E0-87BE922C0EEC}"/>
              </a:ext>
            </a:extLst>
          </p:cNvPr>
          <p:cNvCxnSpPr>
            <a:cxnSpLocks/>
          </p:cNvCxnSpPr>
          <p:nvPr/>
        </p:nvCxnSpPr>
        <p:spPr bwMode="auto">
          <a:xfrm>
            <a:off x="4512980" y="4271234"/>
            <a:ext cx="0" cy="300524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1">
            <a:extLst>
              <a:ext uri="{FF2B5EF4-FFF2-40B4-BE49-F238E27FC236}">
                <a16:creationId xmlns:a16="http://schemas.microsoft.com/office/drawing/2014/main" id="{A68CDC5D-A261-DE43-81EE-201B7FFD1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3902127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63D44C0-2EC9-C848-9F91-E6E4BBF7F02C}"/>
              </a:ext>
            </a:extLst>
          </p:cNvPr>
          <p:cNvSpPr/>
          <p:nvPr/>
        </p:nvSpPr>
        <p:spPr>
          <a:xfrm>
            <a:off x="210311" y="3930814"/>
            <a:ext cx="1784336" cy="640937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Resource Management capabilities in the demo</a:t>
            </a:r>
          </a:p>
        </p:txBody>
      </p: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F64196B1-B759-B245-9DB0-3AE276C83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911376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B3D0802-84E9-6B43-9827-DE75289CF9DB}"/>
              </a:ext>
            </a:extLst>
          </p:cNvPr>
          <p:cNvSpPr/>
          <p:nvPr/>
        </p:nvSpPr>
        <p:spPr>
          <a:xfrm>
            <a:off x="210311" y="945779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062C80D-D612-5B40-84ED-64EB1151A7B1}"/>
              </a:ext>
            </a:extLst>
          </p:cNvPr>
          <p:cNvSpPr/>
          <p:nvPr/>
        </p:nvSpPr>
        <p:spPr>
          <a:xfrm>
            <a:off x="2602618" y="4173469"/>
            <a:ext cx="1910362" cy="477274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914400"/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 stack visibili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06FBC97-493F-8842-94F7-6D1E762DB9D9}"/>
              </a:ext>
            </a:extLst>
          </p:cNvPr>
          <p:cNvSpPr/>
          <p:nvPr/>
        </p:nvSpPr>
        <p:spPr>
          <a:xfrm>
            <a:off x="4512979" y="4173469"/>
            <a:ext cx="1910362" cy="477274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914400"/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urce optimization  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4A78641-594F-A446-9340-2EBD75761528}"/>
              </a:ext>
            </a:extLst>
          </p:cNvPr>
          <p:cNvSpPr/>
          <p:nvPr/>
        </p:nvSpPr>
        <p:spPr>
          <a:xfrm>
            <a:off x="6431355" y="4173469"/>
            <a:ext cx="1910362" cy="477274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914400"/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able action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481360C-EF9C-FF41-88DA-A42AC08658DE}"/>
              </a:ext>
            </a:extLst>
          </p:cNvPr>
          <p:cNvCxnSpPr>
            <a:cxnSpLocks/>
          </p:cNvCxnSpPr>
          <p:nvPr/>
        </p:nvCxnSpPr>
        <p:spPr bwMode="auto">
          <a:xfrm>
            <a:off x="6425447" y="4271234"/>
            <a:ext cx="0" cy="300524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749F942-6AA8-061F-0B14-9088F1EF3F4A}"/>
              </a:ext>
            </a:extLst>
          </p:cNvPr>
          <p:cNvGrpSpPr/>
          <p:nvPr/>
        </p:nvGrpSpPr>
        <p:grpSpPr>
          <a:xfrm>
            <a:off x="1130851" y="1094445"/>
            <a:ext cx="6882298" cy="2633816"/>
            <a:chOff x="2024157" y="1094445"/>
            <a:chExt cx="6882298" cy="2633816"/>
          </a:xfrm>
        </p:grpSpPr>
        <p:sp>
          <p:nvSpPr>
            <p:cNvPr id="21" name="Rectangle 3">
              <a:extLst>
                <a:ext uri="{FF2B5EF4-FFF2-40B4-BE49-F238E27FC236}">
                  <a16:creationId xmlns:a16="http://schemas.microsoft.com/office/drawing/2014/main" id="{AA6E669D-DCC1-4285-69FE-38A8EC6E58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24157" y="1094445"/>
              <a:ext cx="4622101" cy="65836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Home Robots is an online marketplace that sells and services robots. They are a fully digital company with an extensive portfolio of Kubernetes-based microservices applications.</a:t>
              </a:r>
            </a:p>
          </p:txBody>
        </p:sp>
        <p:sp>
          <p:nvSpPr>
            <p:cNvPr id="22" name="Rectangle 3">
              <a:extLst>
                <a:ext uri="{FF2B5EF4-FFF2-40B4-BE49-F238E27FC236}">
                  <a16:creationId xmlns:a16="http://schemas.microsoft.com/office/drawing/2014/main" id="{85D3A7C5-810C-3D51-71F0-43D41D7860D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284563" y="3069893"/>
              <a:ext cx="4621892" cy="6583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urbonomic</a:t>
              </a: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lso makes a recommendation to improve efficiency.  Once the Ops team is ready to let </a:t>
              </a:r>
              <a:r>
                <a:rPr lang="en-US" sz="1200" kern="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urbonomic</a:t>
              </a: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ct autonomously, they configure it to automate these remediation actions.</a:t>
              </a:r>
            </a:p>
          </p:txBody>
        </p:sp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CF9B60B2-A4A5-A2D1-FA18-A205DBD758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532554" y="2410421"/>
              <a:ext cx="4617720" cy="65836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urbonomic</a:t>
              </a: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recommends increasing the CPU limit from 200mCores to 500mCores to improve application performance. As a result, CPU throttling is reduced from 19% to 3%. </a:t>
              </a:r>
            </a:p>
          </p:txBody>
        </p:sp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id="{C94E1C0E-50BD-50AD-CD18-506E14D612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780546" y="1752559"/>
              <a:ext cx="4617720" cy="6583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anchor="ctr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The company uses </a:t>
              </a:r>
              <a:r>
                <a:rPr lang="en-US" sz="12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Turbonomic</a:t>
              </a: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 to ingest data from </a:t>
              </a:r>
              <a:r>
                <a:rPr lang="en-US" sz="12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stana</a:t>
              </a: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 and build a common data model that creates a graphical view of all applications and dependencie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04107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blur&#10;&#10;Description automatically generated">
            <a:extLst>
              <a:ext uri="{FF2B5EF4-FFF2-40B4-BE49-F238E27FC236}">
                <a16:creationId xmlns:a16="http://schemas.microsoft.com/office/drawing/2014/main" id="{F00C6A51-E22A-3473-2CC0-1CBDB4F0571D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8" name="Picture 2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94FBE953-F66E-0129-BF3B-CCF303E5E091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flo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63F996B-5E95-4D46-B53C-FCF10FC1A669}"/>
              </a:ext>
            </a:extLst>
          </p:cNvPr>
          <p:cNvGrpSpPr/>
          <p:nvPr/>
        </p:nvGrpSpPr>
        <p:grpSpPr>
          <a:xfrm>
            <a:off x="1127963" y="912150"/>
            <a:ext cx="1828801" cy="1699660"/>
            <a:chOff x="228664" y="3105854"/>
            <a:chExt cx="2337811" cy="1699660"/>
          </a:xfrm>
        </p:grpSpPr>
        <p:sp>
          <p:nvSpPr>
            <p:cNvPr id="8" name="Rectangle 3">
              <a:extLst>
                <a:ext uri="{FF2B5EF4-FFF2-40B4-BE49-F238E27FC236}">
                  <a16:creationId xmlns:a16="http://schemas.microsoft.com/office/drawing/2014/main" id="{1F13DFAD-69BD-FC4B-805F-A21C2507EF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28664" y="3105854"/>
              <a:ext cx="2337810" cy="519548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isualize dependencies</a:t>
              </a:r>
            </a:p>
          </p:txBody>
        </p:sp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CE41BB34-7C40-7E4B-9E2D-D3F38AF950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28665" y="3632637"/>
              <a:ext cx="2337810" cy="1172877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xamine global and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ynamic application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nd infrastructure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pendencies 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228875B-5713-2C4F-AEA2-F532D8B88F4F}"/>
              </a:ext>
            </a:extLst>
          </p:cNvPr>
          <p:cNvGrpSpPr/>
          <p:nvPr/>
        </p:nvGrpSpPr>
        <p:grpSpPr>
          <a:xfrm>
            <a:off x="3657635" y="916991"/>
            <a:ext cx="1828800" cy="1689979"/>
            <a:chOff x="2016284" y="1764942"/>
            <a:chExt cx="2337808" cy="1689979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9B280A5F-18FE-3E43-8B97-CDE8D51B0F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16284" y="1764942"/>
              <a:ext cx="2337808" cy="51954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cope to a</a:t>
              </a:r>
            </a:p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specific application</a:t>
              </a:r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DCF49236-97C3-D64F-A92A-7A9663ADA4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016284" y="2284489"/>
              <a:ext cx="2337808" cy="117043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rill into health of a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pecific application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436F63D-74C7-E54E-86F0-F262D838D463}"/>
              </a:ext>
            </a:extLst>
          </p:cNvPr>
          <p:cNvGrpSpPr/>
          <p:nvPr/>
        </p:nvGrpSpPr>
        <p:grpSpPr>
          <a:xfrm>
            <a:off x="6187305" y="912778"/>
            <a:ext cx="1828732" cy="1698404"/>
            <a:chOff x="3497729" y="1764942"/>
            <a:chExt cx="2181873" cy="1698404"/>
          </a:xfrm>
        </p:grpSpPr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D22060B1-2A09-714B-A299-B99F4946E8A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497729" y="1764942"/>
              <a:ext cx="2181873" cy="52073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xamine performance </a:t>
              </a:r>
            </a:p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commendations</a:t>
              </a:r>
            </a:p>
          </p:txBody>
        </p:sp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C0DF3D78-1210-3F42-BFE5-5FEFF72DF7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497729" y="2292914"/>
              <a:ext cx="2181873" cy="117043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view the analytics to identify improvement opportunities in app performance</a:t>
              </a:r>
            </a:p>
          </p:txBody>
        </p:sp>
      </p:grpSp>
      <p:sp>
        <p:nvSpPr>
          <p:cNvPr id="6" name="Right Arrow 5">
            <a:extLst>
              <a:ext uri="{FF2B5EF4-FFF2-40B4-BE49-F238E27FC236}">
                <a16:creationId xmlns:a16="http://schemas.microsoft.com/office/drawing/2014/main" id="{308772FF-5C22-0949-9B77-ECD7469501CB}"/>
              </a:ext>
            </a:extLst>
          </p:cNvPr>
          <p:cNvSpPr/>
          <p:nvPr/>
        </p:nvSpPr>
        <p:spPr bwMode="auto">
          <a:xfrm>
            <a:off x="3062501" y="1575237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C4216C5F-D81F-EF41-8F06-95473350260F}"/>
              </a:ext>
            </a:extLst>
          </p:cNvPr>
          <p:cNvSpPr/>
          <p:nvPr/>
        </p:nvSpPr>
        <p:spPr bwMode="auto">
          <a:xfrm>
            <a:off x="5592172" y="1575237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8EEE2CD-1A53-B92C-C5B1-06DA9BB167B2}"/>
              </a:ext>
            </a:extLst>
          </p:cNvPr>
          <p:cNvGrpSpPr/>
          <p:nvPr/>
        </p:nvGrpSpPr>
        <p:grpSpPr>
          <a:xfrm>
            <a:off x="2392228" y="2792549"/>
            <a:ext cx="1828801" cy="1697216"/>
            <a:chOff x="2575818" y="2651889"/>
            <a:chExt cx="1828801" cy="1697216"/>
          </a:xfrm>
        </p:grpSpPr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BFEE4C56-419A-E84C-BBAB-057789204E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75818" y="2651889"/>
              <a:ext cx="1828800" cy="519548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fine automation </a:t>
              </a:r>
            </a:p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olicies</a:t>
              </a:r>
            </a:p>
          </p:txBody>
        </p:sp>
        <p:sp>
          <p:nvSpPr>
            <p:cNvPr id="32" name="Rectangle 4">
              <a:extLst>
                <a:ext uri="{FF2B5EF4-FFF2-40B4-BE49-F238E27FC236}">
                  <a16:creationId xmlns:a16="http://schemas.microsoft.com/office/drawing/2014/main" id="{152E9637-FC02-FF43-8151-2DF4865946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75819" y="3178673"/>
              <a:ext cx="1828800" cy="117043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fine policies to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automate execution of platform-derived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ctions  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A4A8853-AEA3-0F1E-2824-601F43ED0470}"/>
              </a:ext>
            </a:extLst>
          </p:cNvPr>
          <p:cNvGrpSpPr/>
          <p:nvPr/>
        </p:nvGrpSpPr>
        <p:grpSpPr>
          <a:xfrm>
            <a:off x="4922972" y="2796168"/>
            <a:ext cx="1828800" cy="1689979"/>
            <a:chOff x="4922971" y="2647466"/>
            <a:chExt cx="1828800" cy="1689979"/>
          </a:xfrm>
        </p:grpSpPr>
        <p:sp>
          <p:nvSpPr>
            <p:cNvPr id="35" name="Rectangle 3">
              <a:extLst>
                <a:ext uri="{FF2B5EF4-FFF2-40B4-BE49-F238E27FC236}">
                  <a16:creationId xmlns:a16="http://schemas.microsoft.com/office/drawing/2014/main" id="{9B5082C3-5FFE-8849-8E57-27732AACE7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922971" y="2647466"/>
              <a:ext cx="1828800" cy="51954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xamine efficiency</a:t>
              </a:r>
              <a:b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commendations</a:t>
              </a:r>
            </a:p>
          </p:txBody>
        </p:sp>
        <p:sp>
          <p:nvSpPr>
            <p:cNvPr id="36" name="Rectangle 4">
              <a:extLst>
                <a:ext uri="{FF2B5EF4-FFF2-40B4-BE49-F238E27FC236}">
                  <a16:creationId xmlns:a16="http://schemas.microsoft.com/office/drawing/2014/main" id="{975AEB0C-5251-D44E-9BAE-3A1C996103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22971" y="3167013"/>
              <a:ext cx="1828800" cy="117043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view the analytics to identify improvement opportunities in operational efficiency </a:t>
              </a:r>
              <a:b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endParaRPr lang="en-GB" altLang="ja-JP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7" name="Right Arrow 36">
            <a:extLst>
              <a:ext uri="{FF2B5EF4-FFF2-40B4-BE49-F238E27FC236}">
                <a16:creationId xmlns:a16="http://schemas.microsoft.com/office/drawing/2014/main" id="{B7F6E0F8-2A58-1547-AD9F-558CEFEA4F00}"/>
              </a:ext>
            </a:extLst>
          </p:cNvPr>
          <p:cNvSpPr/>
          <p:nvPr/>
        </p:nvSpPr>
        <p:spPr bwMode="auto">
          <a:xfrm flipH="1">
            <a:off x="4327302" y="3454414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3175DF8-4AC4-2741-A6B4-AFD26636387B}"/>
              </a:ext>
            </a:extLst>
          </p:cNvPr>
          <p:cNvGrpSpPr/>
          <p:nvPr/>
        </p:nvGrpSpPr>
        <p:grpSpPr>
          <a:xfrm>
            <a:off x="6858045" y="3194749"/>
            <a:ext cx="643701" cy="633152"/>
            <a:chOff x="6674454" y="2968782"/>
            <a:chExt cx="643701" cy="633152"/>
          </a:xfrm>
          <a:solidFill>
            <a:schemeClr val="bg2">
              <a:lumMod val="90000"/>
            </a:schemeClr>
          </a:solidFill>
        </p:grpSpPr>
        <p:sp>
          <p:nvSpPr>
            <p:cNvPr id="39" name="Right Arrow 38">
              <a:extLst>
                <a:ext uri="{FF2B5EF4-FFF2-40B4-BE49-F238E27FC236}">
                  <a16:creationId xmlns:a16="http://schemas.microsoft.com/office/drawing/2014/main" id="{88DD8C47-FBC7-F84C-B7CF-1BE9FDC1A8D3}"/>
                </a:ext>
              </a:extLst>
            </p:cNvPr>
            <p:cNvSpPr/>
            <p:nvPr/>
          </p:nvSpPr>
          <p:spPr bwMode="auto">
            <a:xfrm flipH="1">
              <a:off x="6674454" y="3228447"/>
              <a:ext cx="489397" cy="373487"/>
            </a:xfrm>
            <a:prstGeom prst="rightArrow">
              <a:avLst/>
            </a:prstGeom>
            <a:grpFill/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EEAC205-CCD9-2A40-8E6B-F4909499AF1B}"/>
                </a:ext>
              </a:extLst>
            </p:cNvPr>
            <p:cNvSpPr/>
            <p:nvPr/>
          </p:nvSpPr>
          <p:spPr bwMode="auto">
            <a:xfrm>
              <a:off x="7135275" y="2968782"/>
              <a:ext cx="182880" cy="548640"/>
            </a:xfrm>
            <a:prstGeom prst="rect">
              <a:avLst/>
            </a:prstGeom>
            <a:grpFill/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7568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picture containing blur&#10;&#10;Description automatically generated">
            <a:extLst>
              <a:ext uri="{FF2B5EF4-FFF2-40B4-BE49-F238E27FC236}">
                <a16:creationId xmlns:a16="http://schemas.microsoft.com/office/drawing/2014/main" id="{B150AF9E-834E-1507-2B25-ABB67229C86E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3" name="Picture 22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55E940A6-A6EC-5649-2E6E-0A813F8CAE5F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components</a:t>
            </a:r>
            <a:b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0DC1F25-03F9-13AE-AC73-2AABB5E5C041}"/>
              </a:ext>
            </a:extLst>
          </p:cNvPr>
          <p:cNvGrpSpPr/>
          <p:nvPr/>
        </p:nvGrpSpPr>
        <p:grpSpPr>
          <a:xfrm>
            <a:off x="1376951" y="1594017"/>
            <a:ext cx="6390099" cy="2263244"/>
            <a:chOff x="1429126" y="2077081"/>
            <a:chExt cx="6390099" cy="2263244"/>
          </a:xfrm>
        </p:grpSpPr>
        <p:sp>
          <p:nvSpPr>
            <p:cNvPr id="18" name="Rectangle 4">
              <a:extLst>
                <a:ext uri="{FF2B5EF4-FFF2-40B4-BE49-F238E27FC236}">
                  <a16:creationId xmlns:a16="http://schemas.microsoft.com/office/drawing/2014/main" id="{FCF632EF-6814-4063-C405-7D1584435F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429128" y="2077081"/>
              <a:ext cx="3142872" cy="226324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sp>
          <p:nvSpPr>
            <p:cNvPr id="35" name="Rectangle 3">
              <a:extLst>
                <a:ext uri="{FF2B5EF4-FFF2-40B4-BE49-F238E27FC236}">
                  <a16:creationId xmlns:a16="http://schemas.microsoft.com/office/drawing/2014/main" id="{F7F2DE34-DE0C-3605-2E43-96AB247C904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534690" y="2237105"/>
              <a:ext cx="2924438" cy="182622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anchor="t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b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lication resource management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21C0947-BA5E-C532-2189-BA4B755E0AA5}"/>
                </a:ext>
              </a:extLst>
            </p:cNvPr>
            <p:cNvGrpSpPr/>
            <p:nvPr/>
          </p:nvGrpSpPr>
          <p:grpSpPr>
            <a:xfrm>
              <a:off x="1950896" y="2824101"/>
              <a:ext cx="2089237" cy="1013109"/>
              <a:chOff x="1950896" y="2824101"/>
              <a:chExt cx="2089237" cy="1013109"/>
            </a:xfrm>
          </p:grpSpPr>
          <p:sp>
            <p:nvSpPr>
              <p:cNvPr id="41" name="Rectangle 3">
                <a:extLst>
                  <a:ext uri="{FF2B5EF4-FFF2-40B4-BE49-F238E27FC236}">
                    <a16:creationId xmlns:a16="http://schemas.microsoft.com/office/drawing/2014/main" id="{2BB2AA09-EC6B-E01D-78F6-CBD071AA07D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500688" y="3380368"/>
                <a:ext cx="992441" cy="45684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1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utomatable actions</a:t>
                </a:r>
              </a:p>
            </p:txBody>
          </p: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242C98AC-1A43-9F13-D9F8-66767B5A7B12}"/>
                  </a:ext>
                </a:extLst>
              </p:cNvPr>
              <p:cNvGrpSpPr/>
              <p:nvPr/>
            </p:nvGrpSpPr>
            <p:grpSpPr>
              <a:xfrm>
                <a:off x="1950896" y="2824101"/>
                <a:ext cx="2089237" cy="456844"/>
                <a:chOff x="2003074" y="2714501"/>
                <a:chExt cx="2089237" cy="456844"/>
              </a:xfrm>
            </p:grpSpPr>
            <p:sp>
              <p:nvSpPr>
                <p:cNvPr id="42" name="Rectangle 3">
                  <a:extLst>
                    <a:ext uri="{FF2B5EF4-FFF2-40B4-BE49-F238E27FC236}">
                      <a16:creationId xmlns:a16="http://schemas.microsoft.com/office/drawing/2014/main" id="{236C0432-8FC0-14BB-7C80-A965230B3281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2003074" y="2714501"/>
                  <a:ext cx="992441" cy="456844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Full stack visibility</a:t>
                  </a:r>
                </a:p>
              </p:txBody>
            </p:sp>
            <p:sp>
              <p:nvSpPr>
                <p:cNvPr id="43" name="Rectangle 3">
                  <a:extLst>
                    <a:ext uri="{FF2B5EF4-FFF2-40B4-BE49-F238E27FC236}">
                      <a16:creationId xmlns:a16="http://schemas.microsoft.com/office/drawing/2014/main" id="{49E2275B-6EE6-0FC4-8888-1CCD3832C8E1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3099870" y="2714501"/>
                  <a:ext cx="992441" cy="456843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esource optimization</a:t>
                  </a:r>
                </a:p>
              </p:txBody>
            </p:sp>
          </p:grpSp>
        </p:grp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D176C3B-7431-43B0-6C18-F78ED5356524}"/>
                </a:ext>
              </a:extLst>
            </p:cNvPr>
            <p:cNvSpPr txBox="1"/>
            <p:nvPr/>
          </p:nvSpPr>
          <p:spPr>
            <a:xfrm>
              <a:off x="1429126" y="4063326"/>
              <a:ext cx="314287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Turbonomic</a:t>
              </a:r>
              <a:endParaRPr lang="en-US" sz="1200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Rectangle 4">
              <a:extLst>
                <a:ext uri="{FF2B5EF4-FFF2-40B4-BE49-F238E27FC236}">
                  <a16:creationId xmlns:a16="http://schemas.microsoft.com/office/drawing/2014/main" id="{129CAAAF-1772-2CF0-A92A-E0510A37377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676353" y="2077081"/>
              <a:ext cx="3142872" cy="226324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sp>
          <p:nvSpPr>
            <p:cNvPr id="48" name="Rectangle 3">
              <a:extLst>
                <a:ext uri="{FF2B5EF4-FFF2-40B4-BE49-F238E27FC236}">
                  <a16:creationId xmlns:a16="http://schemas.microsoft.com/office/drawing/2014/main" id="{29C8FDFB-ADBD-63AB-2F98-9B8E2AD043D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781915" y="2237106"/>
              <a:ext cx="2924438" cy="18262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anchor="t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b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servability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68C2F32-6A94-771B-D431-E04B844C7504}"/>
                </a:ext>
              </a:extLst>
            </p:cNvPr>
            <p:cNvSpPr txBox="1"/>
            <p:nvPr/>
          </p:nvSpPr>
          <p:spPr>
            <a:xfrm>
              <a:off x="4676352" y="4063326"/>
              <a:ext cx="314287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Instana</a:t>
              </a:r>
              <a:endParaRPr lang="en-US" sz="1200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9CAB85BC-E40B-A86B-6EE7-DD7B2C77686E}"/>
                </a:ext>
              </a:extLst>
            </p:cNvPr>
            <p:cNvGrpSpPr/>
            <p:nvPr/>
          </p:nvGrpSpPr>
          <p:grpSpPr>
            <a:xfrm>
              <a:off x="5199516" y="2824101"/>
              <a:ext cx="2089237" cy="1013109"/>
              <a:chOff x="1950896" y="2824101"/>
              <a:chExt cx="2089237" cy="1013109"/>
            </a:xfrm>
          </p:grpSpPr>
          <p:sp>
            <p:nvSpPr>
              <p:cNvPr id="56" name="Rectangle 3">
                <a:extLst>
                  <a:ext uri="{FF2B5EF4-FFF2-40B4-BE49-F238E27FC236}">
                    <a16:creationId xmlns:a16="http://schemas.microsoft.com/office/drawing/2014/main" id="{3393E8FF-B3AF-F1C4-1C9D-5E6B477ACD3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500688" y="3380368"/>
                <a:ext cx="992441" cy="45684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1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pendency mapping</a:t>
                </a:r>
              </a:p>
            </p:txBody>
          </p: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A475363A-3A40-CFD9-D8AB-5697F86F04F2}"/>
                  </a:ext>
                </a:extLst>
              </p:cNvPr>
              <p:cNvGrpSpPr/>
              <p:nvPr/>
            </p:nvGrpSpPr>
            <p:grpSpPr>
              <a:xfrm>
                <a:off x="1950896" y="2824101"/>
                <a:ext cx="2089237" cy="456844"/>
                <a:chOff x="2003074" y="2714501"/>
                <a:chExt cx="2089237" cy="456844"/>
              </a:xfrm>
            </p:grpSpPr>
            <p:sp>
              <p:nvSpPr>
                <p:cNvPr id="58" name="Rectangle 3">
                  <a:extLst>
                    <a:ext uri="{FF2B5EF4-FFF2-40B4-BE49-F238E27FC236}">
                      <a16:creationId xmlns:a16="http://schemas.microsoft.com/office/drawing/2014/main" id="{744C2760-CCA2-6BE5-93B4-3B150293F49C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>
                  <a:off x="2003074" y="2714501"/>
                  <a:ext cx="992441" cy="456844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istributed tracing</a:t>
                  </a:r>
                </a:p>
              </p:txBody>
            </p:sp>
            <p:sp>
              <p:nvSpPr>
                <p:cNvPr id="59" name="Rectangle 3">
                  <a:extLst>
                    <a:ext uri="{FF2B5EF4-FFF2-40B4-BE49-F238E27FC236}">
                      <a16:creationId xmlns:a16="http://schemas.microsoft.com/office/drawing/2014/main" id="{7A6A95BF-3B59-0278-6198-DD53C2511B02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3099870" y="2714501"/>
                  <a:ext cx="992441" cy="456843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Metrics aggregation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8841281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5FC501F7-74BE-3A08-8900-6F93FF2ED203}"/>
              </a:ext>
            </a:extLst>
          </p:cNvPr>
          <p:cNvSpPr txBox="1">
            <a:spLocks/>
          </p:cNvSpPr>
          <p:nvPr/>
        </p:nvSpPr>
        <p:spPr>
          <a:xfrm>
            <a:off x="2" y="1112775"/>
            <a:ext cx="9143998" cy="1458975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</a:p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resource management</a:t>
            </a:r>
            <a:endParaRPr lang="en-US" sz="32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623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blur&#10;&#10;Description automatically generated">
            <a:extLst>
              <a:ext uri="{FF2B5EF4-FFF2-40B4-BE49-F238E27FC236}">
                <a16:creationId xmlns:a16="http://schemas.microsoft.com/office/drawing/2014/main" id="{E6701448-E8AD-F30E-8CF0-761E6D1B4B6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7" name="Picture 2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B1502845-0225-3387-E8BD-DA12F57953F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667D6D-B90D-EAC9-6B98-A8947C61BA59}"/>
              </a:ext>
            </a:extLst>
          </p:cNvPr>
          <p:cNvSpPr/>
          <p:nvPr/>
        </p:nvSpPr>
        <p:spPr bwMode="auto">
          <a:xfrm>
            <a:off x="329581" y="990510"/>
            <a:ext cx="8484838" cy="3790784"/>
          </a:xfrm>
          <a:prstGeom prst="rect">
            <a:avLst/>
          </a:prstGeom>
          <a:solidFill>
            <a:schemeClr val="tx1">
              <a:alpha val="5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3" name="Title">
            <a:extLst>
              <a:ext uri="{FF2B5EF4-FFF2-40B4-BE49-F238E27FC236}">
                <a16:creationId xmlns:a16="http://schemas.microsoft.com/office/drawing/2014/main" id="{83962735-38FC-B4FB-04B2-BAEFFA01C6F0}"/>
              </a:ext>
            </a:extLst>
          </p:cNvPr>
          <p:cNvSpPr txBox="1">
            <a:spLocks/>
          </p:cNvSpPr>
          <p:nvPr/>
        </p:nvSpPr>
        <p:spPr>
          <a:xfrm>
            <a:off x="210311" y="201168"/>
            <a:ext cx="6210586" cy="71323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r>
              <a:rPr lang="en-US" sz="2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takeaways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cation resource management demo</a:t>
            </a:r>
          </a:p>
          <a:p>
            <a:pPr defTabSz="914400"/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b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307D3C8-27A5-DFC9-6668-AF432A6449C6}"/>
              </a:ext>
            </a:extLst>
          </p:cNvPr>
          <p:cNvSpPr/>
          <p:nvPr/>
        </p:nvSpPr>
        <p:spPr>
          <a:xfrm>
            <a:off x="329581" y="1090568"/>
            <a:ext cx="7124898" cy="2993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27432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resource management</a:t>
            </a:r>
            <a:r>
              <a:rPr lang="en-US" sz="1500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marL="800100" lvl="1" indent="-227013">
              <a:lnSpc>
                <a:spcPct val="90000"/>
              </a:lnSpc>
              <a:spcAft>
                <a:spcPts val="3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s visibility across the stack from apps to dependent resources</a:t>
            </a:r>
          </a:p>
          <a:p>
            <a:pPr marL="800100" lvl="1" indent="-227013">
              <a:lnSpc>
                <a:spcPct val="90000"/>
              </a:lnSpc>
              <a:spcAft>
                <a:spcPts val="3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ously analyzes and sends alerts where performance risks exist</a:t>
            </a:r>
          </a:p>
          <a:p>
            <a:pPr marL="800100" lvl="1" indent="-227013">
              <a:lnSpc>
                <a:spcPct val="90000"/>
              </a:lnSpc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actively derives and prescribes relevant remedial actions 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 stack visibility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nders comprehensive view of all applications and their resource dependencies across on-prem and multi-cloud deployments.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-aware resource optimization analytics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elp right-size capacity and quickly identify resource constraint risks.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able actions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 autonomously remediate capacity issues to continuously assure application performance and optimize infrastructure resource efficiency.</a:t>
            </a:r>
          </a:p>
        </p:txBody>
      </p:sp>
    </p:spTree>
    <p:extLst>
      <p:ext uri="{BB962C8B-B14F-4D97-AF65-F5344CB8AC3E}">
        <p14:creationId xmlns:p14="http://schemas.microsoft.com/office/powerpoint/2010/main" val="29015103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0" y="-19305"/>
            <a:ext cx="9144000" cy="5162805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71AE79E-88B6-4B49-8950-048F1C068E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214" r="21215"/>
          <a:stretch/>
        </p:blipFill>
        <p:spPr>
          <a:xfrm>
            <a:off x="3897549" y="1793421"/>
            <a:ext cx="1348902" cy="155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766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1E3BF7CE-606D-7AB0-86D6-C438E0130D1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8" name="Picture 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D68B642E-4191-F4D0-AC94-9B7FEE45220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learning 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56A7D-53F2-214F-871C-1EB579B9B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66" y="911259"/>
            <a:ext cx="8695877" cy="3320982"/>
          </a:xfrm>
        </p:spPr>
        <p:txBody>
          <a:bodyPr/>
          <a:lstStyle/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ssure application performance in real time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ssure performance with intelligent application resource management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I-powered application resource management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14257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3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34248</TotalTime>
  <Words>578</Words>
  <Application>Microsoft Macintosh PowerPoint</Application>
  <PresentationFormat>On-screen Show (16:9)</PresentationFormat>
  <Paragraphs>114</Paragraphs>
  <Slides>9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IBM Plex Sans Light</vt:lpstr>
      <vt:lpstr>System Font Regular</vt:lpstr>
      <vt:lpstr>IBM Plex Sans</vt:lpstr>
      <vt:lpstr>Calibri</vt:lpstr>
      <vt:lpstr>Arial</vt:lpstr>
      <vt:lpstr>IBM Brand Template 2022</vt:lpstr>
      <vt:lpstr>PowerPoint Presentation</vt:lpstr>
      <vt:lpstr>Demo overview</vt:lpstr>
      <vt:lpstr>Demo overview</vt:lpstr>
      <vt:lpstr>Demo flow</vt:lpstr>
      <vt:lpstr>Demo components </vt:lpstr>
      <vt:lpstr>PowerPoint Presentation</vt:lpstr>
      <vt:lpstr>PowerPoint Presentation</vt:lpstr>
      <vt:lpstr>PowerPoint Presentation</vt:lpstr>
      <vt:lpstr>Additional learning 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IBM Presentation Template — IBM Plex® variant</dc:title>
  <dc:creator>Dennis Woo</dc:creator>
  <cp:lastModifiedBy>Dennis Woo</cp:lastModifiedBy>
  <cp:revision>129</cp:revision>
  <cp:lastPrinted>2019-04-25T15:14:05Z</cp:lastPrinted>
  <dcterms:created xsi:type="dcterms:W3CDTF">2022-03-29T18:01:01Z</dcterms:created>
  <dcterms:modified xsi:type="dcterms:W3CDTF">2022-06-24T20:54:47Z</dcterms:modified>
</cp:coreProperties>
</file>